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8" r:id="rId3"/>
    <p:sldId id="264" r:id="rId4"/>
    <p:sldId id="265" r:id="rId5"/>
    <p:sldId id="266" r:id="rId6"/>
    <p:sldId id="270" r:id="rId7"/>
    <p:sldId id="272" r:id="rId8"/>
    <p:sldId id="268" r:id="rId9"/>
    <p:sldId id="267" r:id="rId10"/>
    <p:sldId id="271" r:id="rId11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790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gar Aliyeva" userId="068133d81a818aa9" providerId="LiveId" clId="{B402DCC1-9065-4876-9C3B-7AF0607C7E3C}"/>
    <pc:docChg chg="custSel modSld">
      <pc:chgData name="Nigar Aliyeva" userId="068133d81a818aa9" providerId="LiveId" clId="{B402DCC1-9065-4876-9C3B-7AF0607C7E3C}" dt="2024-10-22T19:16:21.613" v="0" actId="478"/>
      <pc:docMkLst>
        <pc:docMk/>
      </pc:docMkLst>
      <pc:sldChg chg="delSp mod">
        <pc:chgData name="Nigar Aliyeva" userId="068133d81a818aa9" providerId="LiveId" clId="{B402DCC1-9065-4876-9C3B-7AF0607C7E3C}" dt="2024-10-22T19:16:21.613" v="0" actId="478"/>
        <pc:sldMkLst>
          <pc:docMk/>
          <pc:sldMk cId="1272294802" sldId="256"/>
        </pc:sldMkLst>
        <pc:spChg chg="del">
          <ac:chgData name="Nigar Aliyeva" userId="068133d81a818aa9" providerId="LiveId" clId="{B402DCC1-9065-4876-9C3B-7AF0607C7E3C}" dt="2024-10-22T19:16:21.613" v="0" actId="478"/>
          <ac:spMkLst>
            <pc:docMk/>
            <pc:sldMk cId="1272294802" sldId="256"/>
            <ac:spMk id="7" creationId="{00000000-0000-0000-0000-000000000000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73C52-4029-4F5F-8D2D-A747EA15ED10}" type="datetimeFigureOut">
              <a:rPr lang="en-US" smtClean="0"/>
              <a:t>10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B7EC7-2F44-40C2-866F-59C80333B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2286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73C52-4029-4F5F-8D2D-A747EA15ED10}" type="datetimeFigureOut">
              <a:rPr lang="en-US" smtClean="0"/>
              <a:t>10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B7EC7-2F44-40C2-866F-59C80333B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0694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73C52-4029-4F5F-8D2D-A747EA15ED10}" type="datetimeFigureOut">
              <a:rPr lang="en-US" smtClean="0"/>
              <a:t>10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B7EC7-2F44-40C2-866F-59C80333B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436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73C52-4029-4F5F-8D2D-A747EA15ED10}" type="datetimeFigureOut">
              <a:rPr lang="en-US" smtClean="0"/>
              <a:t>10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B7EC7-2F44-40C2-866F-59C80333B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4915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73C52-4029-4F5F-8D2D-A747EA15ED10}" type="datetimeFigureOut">
              <a:rPr lang="en-US" smtClean="0"/>
              <a:t>10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B7EC7-2F44-40C2-866F-59C80333B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8598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73C52-4029-4F5F-8D2D-A747EA15ED10}" type="datetimeFigureOut">
              <a:rPr lang="en-US" smtClean="0"/>
              <a:t>10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B7EC7-2F44-40C2-866F-59C80333B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5716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73C52-4029-4F5F-8D2D-A747EA15ED10}" type="datetimeFigureOut">
              <a:rPr lang="en-US" smtClean="0"/>
              <a:t>10/2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B7EC7-2F44-40C2-866F-59C80333B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6422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73C52-4029-4F5F-8D2D-A747EA15ED10}" type="datetimeFigureOut">
              <a:rPr lang="en-US" smtClean="0"/>
              <a:t>10/2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B7EC7-2F44-40C2-866F-59C80333B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3725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73C52-4029-4F5F-8D2D-A747EA15ED10}" type="datetimeFigureOut">
              <a:rPr lang="en-US" smtClean="0"/>
              <a:t>10/2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B7EC7-2F44-40C2-866F-59C80333B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188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73C52-4029-4F5F-8D2D-A747EA15ED10}" type="datetimeFigureOut">
              <a:rPr lang="en-US" smtClean="0"/>
              <a:t>10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B7EC7-2F44-40C2-866F-59C80333B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183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73C52-4029-4F5F-8D2D-A747EA15ED10}" type="datetimeFigureOut">
              <a:rPr lang="en-US" smtClean="0"/>
              <a:t>10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B7EC7-2F44-40C2-866F-59C80333B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80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8340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5" imgH="416" progId="TCLayout.ActiveDocument.1">
                  <p:embed/>
                </p:oleObj>
              </mc:Choice>
              <mc:Fallback>
                <p:oleObj name="think-cell Slide" r:id="rId14" imgW="415" imgH="416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473C52-4029-4F5F-8D2D-A747EA15ED10}" type="datetimeFigureOut">
              <a:rPr lang="en-US" smtClean="0"/>
              <a:t>10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EB7EC7-2F44-40C2-866F-59C80333B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890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.emf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7444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nip Single Corner Rectangle 4"/>
          <p:cNvSpPr/>
          <p:nvPr/>
        </p:nvSpPr>
        <p:spPr>
          <a:xfrm>
            <a:off x="898271" y="2874874"/>
            <a:ext cx="10306262" cy="861568"/>
          </a:xfrm>
          <a:prstGeom prst="snip1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287401" y="3044048"/>
            <a:ext cx="41758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</a:t>
            </a:r>
            <a:r>
              <a:rPr lang="az-Latn-AZ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ərbaycanda səhiyyə</a:t>
            </a:r>
            <a:endParaRPr lang="en-US" sz="2800" i="1" dirty="0">
              <a:solidFill>
                <a:srgbClr val="333F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Graphic 2" descr="Hospital with solid fill">
            <a:extLst>
              <a:ext uri="{FF2B5EF4-FFF2-40B4-BE49-F238E27FC236}">
                <a16:creationId xmlns:a16="http://schemas.microsoft.com/office/drawing/2014/main" id="{6960CF17-F1BC-2B46-D46A-28E24829BF0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69193" y="1771436"/>
            <a:ext cx="1253613" cy="1253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2948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nip Single Corner Rectangle 4"/>
          <p:cNvSpPr/>
          <p:nvPr/>
        </p:nvSpPr>
        <p:spPr>
          <a:xfrm>
            <a:off x="898271" y="2874874"/>
            <a:ext cx="10306262" cy="861568"/>
          </a:xfrm>
          <a:prstGeom prst="snip1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876681" y="3044048"/>
            <a:ext cx="2306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z-Latn-AZ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əşəkkürlər!</a:t>
            </a:r>
            <a:endParaRPr lang="en-US" sz="2800" i="1" dirty="0">
              <a:solidFill>
                <a:srgbClr val="333F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8832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8412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: Rounded Corners 56">
            <a:extLst>
              <a:ext uri="{FF2B5EF4-FFF2-40B4-BE49-F238E27FC236}">
                <a16:creationId xmlns:a16="http://schemas.microsoft.com/office/drawing/2014/main" id="{FD855B27-2200-0389-7522-FCD430370E87}"/>
              </a:ext>
            </a:extLst>
          </p:cNvPr>
          <p:cNvSpPr/>
          <p:nvPr/>
        </p:nvSpPr>
        <p:spPr>
          <a:xfrm>
            <a:off x="380111" y="1424368"/>
            <a:ext cx="10115169" cy="504000"/>
          </a:xfrm>
          <a:prstGeom prst="roundRect">
            <a:avLst/>
          </a:prstGeom>
          <a:noFill/>
          <a:ln w="9525">
            <a:solidFill>
              <a:srgbClr val="395773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en-US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</a:t>
            </a:r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ərbaycanda insanlar səhiyyədən nə qədər məmnundur</a:t>
            </a:r>
            <a:r>
              <a:rPr lang="en-US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  <a:endParaRPr lang="ru-RU" sz="2400" i="1" dirty="0">
              <a:solidFill>
                <a:srgbClr val="333F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7BE04E-99C7-CDB1-AA2C-CD0B6CA52AC4}"/>
              </a:ext>
            </a:extLst>
          </p:cNvPr>
          <p:cNvSpPr/>
          <p:nvPr/>
        </p:nvSpPr>
        <p:spPr>
          <a:xfrm>
            <a:off x="9803336" y="1309434"/>
            <a:ext cx="812800" cy="733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Rectangle: Rounded Corners 56">
            <a:extLst>
              <a:ext uri="{FF2B5EF4-FFF2-40B4-BE49-F238E27FC236}">
                <a16:creationId xmlns:a16="http://schemas.microsoft.com/office/drawing/2014/main" id="{FD855B27-2200-0389-7522-FCD430370E87}"/>
              </a:ext>
            </a:extLst>
          </p:cNvPr>
          <p:cNvSpPr/>
          <p:nvPr/>
        </p:nvSpPr>
        <p:spPr>
          <a:xfrm>
            <a:off x="380111" y="2298480"/>
            <a:ext cx="10115169" cy="504000"/>
          </a:xfrm>
          <a:prstGeom prst="roundRect">
            <a:avLst/>
          </a:prstGeom>
          <a:noFill/>
          <a:ln w="9525">
            <a:solidFill>
              <a:srgbClr val="395773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bb sahəsində məmnunluğa hansı amillər təsir edir</a:t>
            </a:r>
            <a:r>
              <a:rPr lang="en-US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  <a:endParaRPr lang="ru-RU" sz="2400" i="1" dirty="0">
              <a:solidFill>
                <a:srgbClr val="333F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87BE04E-99C7-CDB1-AA2C-CD0B6CA52AC4}"/>
              </a:ext>
            </a:extLst>
          </p:cNvPr>
          <p:cNvSpPr/>
          <p:nvPr/>
        </p:nvSpPr>
        <p:spPr>
          <a:xfrm>
            <a:off x="10230056" y="2732516"/>
            <a:ext cx="812800" cy="733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87BE04E-99C7-CDB1-AA2C-CD0B6CA52AC4}"/>
              </a:ext>
            </a:extLst>
          </p:cNvPr>
          <p:cNvSpPr/>
          <p:nvPr/>
        </p:nvSpPr>
        <p:spPr>
          <a:xfrm>
            <a:off x="9798430" y="2138563"/>
            <a:ext cx="812800" cy="733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7BE04E-99C7-CDB1-AA2C-CD0B6CA52AC4}"/>
              </a:ext>
            </a:extLst>
          </p:cNvPr>
          <p:cNvSpPr/>
          <p:nvPr/>
        </p:nvSpPr>
        <p:spPr>
          <a:xfrm>
            <a:off x="10230056" y="4700562"/>
            <a:ext cx="812800" cy="733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7BE04E-99C7-CDB1-AA2C-CD0B6CA52AC4}"/>
              </a:ext>
            </a:extLst>
          </p:cNvPr>
          <p:cNvSpPr/>
          <p:nvPr/>
        </p:nvSpPr>
        <p:spPr>
          <a:xfrm>
            <a:off x="10230056" y="5347294"/>
            <a:ext cx="812800" cy="733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Snip Single Corner Rectangle 42"/>
          <p:cNvSpPr/>
          <p:nvPr/>
        </p:nvSpPr>
        <p:spPr>
          <a:xfrm>
            <a:off x="995680" y="536274"/>
            <a:ext cx="10682829" cy="548640"/>
          </a:xfrm>
          <a:prstGeom prst="snip1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/>
          <p:cNvSpPr txBox="1"/>
          <p:nvPr/>
        </p:nvSpPr>
        <p:spPr>
          <a:xfrm>
            <a:off x="995680" y="559965"/>
            <a:ext cx="96407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</a:t>
            </a:r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əhlil</a:t>
            </a:r>
            <a:r>
              <a:rPr lang="en-US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nsı suallara cavab verir</a:t>
            </a:r>
            <a:r>
              <a:rPr lang="en-US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</a:p>
        </p:txBody>
      </p:sp>
      <p:sp>
        <p:nvSpPr>
          <p:cNvPr id="45" name="Snip Single Corner Rectangle 44"/>
          <p:cNvSpPr/>
          <p:nvPr/>
        </p:nvSpPr>
        <p:spPr>
          <a:xfrm>
            <a:off x="995680" y="3456225"/>
            <a:ext cx="10655379" cy="548640"/>
          </a:xfrm>
          <a:prstGeom prst="snip1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/>
          <p:cNvSpPr txBox="1"/>
          <p:nvPr/>
        </p:nvSpPr>
        <p:spPr>
          <a:xfrm>
            <a:off x="995680" y="3508001"/>
            <a:ext cx="9615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</a:t>
            </a:r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əhlilin əhatə dairəsi</a:t>
            </a:r>
            <a:endParaRPr lang="en-US" sz="2400" i="1" dirty="0">
              <a:solidFill>
                <a:srgbClr val="333F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Rectangle: Rounded Corners 56">
            <a:extLst>
              <a:ext uri="{FF2B5EF4-FFF2-40B4-BE49-F238E27FC236}">
                <a16:creationId xmlns:a16="http://schemas.microsoft.com/office/drawing/2014/main" id="{FD855B27-2200-0389-7522-FCD430370E87}"/>
              </a:ext>
            </a:extLst>
          </p:cNvPr>
          <p:cNvSpPr/>
          <p:nvPr/>
        </p:nvSpPr>
        <p:spPr>
          <a:xfrm>
            <a:off x="6711711" y="4420482"/>
            <a:ext cx="4200129" cy="504000"/>
          </a:xfrm>
          <a:prstGeom prst="roundRect">
            <a:avLst/>
          </a:prstGeom>
          <a:noFill/>
          <a:ln w="9525">
            <a:solidFill>
              <a:srgbClr val="395773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əstəxana işçiləri</a:t>
            </a:r>
            <a:endParaRPr lang="ru-RU" sz="2400" i="1" dirty="0">
              <a:solidFill>
                <a:srgbClr val="333F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Rectangle: Rounded Corners 56">
            <a:extLst>
              <a:ext uri="{FF2B5EF4-FFF2-40B4-BE49-F238E27FC236}">
                <a16:creationId xmlns:a16="http://schemas.microsoft.com/office/drawing/2014/main" id="{FD855B27-2200-0389-7522-FCD430370E87}"/>
              </a:ext>
            </a:extLst>
          </p:cNvPr>
          <p:cNvSpPr/>
          <p:nvPr/>
        </p:nvSpPr>
        <p:spPr>
          <a:xfrm>
            <a:off x="6711711" y="5260514"/>
            <a:ext cx="4200129" cy="504000"/>
          </a:xfrm>
          <a:prstGeom prst="roundRect">
            <a:avLst/>
          </a:prstGeom>
          <a:noFill/>
          <a:ln w="9525">
            <a:solidFill>
              <a:srgbClr val="395773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əhiyyə nazirliyi</a:t>
            </a:r>
            <a:endParaRPr lang="ru-RU" sz="2400" i="1" dirty="0">
              <a:solidFill>
                <a:srgbClr val="333F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87BE04E-99C7-CDB1-AA2C-CD0B6CA52AC4}"/>
              </a:ext>
            </a:extLst>
          </p:cNvPr>
          <p:cNvSpPr/>
          <p:nvPr/>
        </p:nvSpPr>
        <p:spPr>
          <a:xfrm>
            <a:off x="4205246" y="5347294"/>
            <a:ext cx="812800" cy="733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Rectangle: Rounded Corners 56">
            <a:extLst>
              <a:ext uri="{FF2B5EF4-FFF2-40B4-BE49-F238E27FC236}">
                <a16:creationId xmlns:a16="http://schemas.microsoft.com/office/drawing/2014/main" id="{FD855B27-2200-0389-7522-FCD430370E87}"/>
              </a:ext>
            </a:extLst>
          </p:cNvPr>
          <p:cNvSpPr/>
          <p:nvPr/>
        </p:nvSpPr>
        <p:spPr>
          <a:xfrm>
            <a:off x="716595" y="4427524"/>
            <a:ext cx="4200129" cy="504000"/>
          </a:xfrm>
          <a:prstGeom prst="roundRect">
            <a:avLst/>
          </a:prstGeom>
          <a:noFill/>
          <a:ln w="9525">
            <a:solidFill>
              <a:srgbClr val="395773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sientlər</a:t>
            </a:r>
            <a:endParaRPr lang="ru-RU" sz="2400" i="1" dirty="0">
              <a:solidFill>
                <a:srgbClr val="333F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Rectangle: Rounded Corners 56">
            <a:extLst>
              <a:ext uri="{FF2B5EF4-FFF2-40B4-BE49-F238E27FC236}">
                <a16:creationId xmlns:a16="http://schemas.microsoft.com/office/drawing/2014/main" id="{FD855B27-2200-0389-7522-FCD430370E87}"/>
              </a:ext>
            </a:extLst>
          </p:cNvPr>
          <p:cNvSpPr/>
          <p:nvPr/>
        </p:nvSpPr>
        <p:spPr>
          <a:xfrm>
            <a:off x="686901" y="5260514"/>
            <a:ext cx="4200129" cy="504000"/>
          </a:xfrm>
          <a:prstGeom prst="roundRect">
            <a:avLst/>
          </a:prstGeom>
          <a:noFill/>
          <a:ln w="9525">
            <a:solidFill>
              <a:srgbClr val="395773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əstəxana sahibləri</a:t>
            </a:r>
            <a:endParaRPr lang="ru-RU" sz="2400" i="1" dirty="0">
              <a:solidFill>
                <a:srgbClr val="333F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87BE04E-99C7-CDB1-AA2C-CD0B6CA52AC4}"/>
              </a:ext>
            </a:extLst>
          </p:cNvPr>
          <p:cNvSpPr/>
          <p:nvPr/>
        </p:nvSpPr>
        <p:spPr>
          <a:xfrm>
            <a:off x="517130" y="4265749"/>
            <a:ext cx="812800" cy="733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87BE04E-99C7-CDB1-AA2C-CD0B6CA52AC4}"/>
              </a:ext>
            </a:extLst>
          </p:cNvPr>
          <p:cNvSpPr/>
          <p:nvPr/>
        </p:nvSpPr>
        <p:spPr>
          <a:xfrm>
            <a:off x="4205246" y="5210228"/>
            <a:ext cx="812800" cy="733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87BE04E-99C7-CDB1-AA2C-CD0B6CA52AC4}"/>
              </a:ext>
            </a:extLst>
          </p:cNvPr>
          <p:cNvSpPr/>
          <p:nvPr/>
        </p:nvSpPr>
        <p:spPr>
          <a:xfrm>
            <a:off x="10240286" y="4212777"/>
            <a:ext cx="812800" cy="733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87BE04E-99C7-CDB1-AA2C-CD0B6CA52AC4}"/>
              </a:ext>
            </a:extLst>
          </p:cNvPr>
          <p:cNvSpPr/>
          <p:nvPr/>
        </p:nvSpPr>
        <p:spPr>
          <a:xfrm>
            <a:off x="10240286" y="5210228"/>
            <a:ext cx="812800" cy="733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928" y="4111254"/>
            <a:ext cx="858022" cy="858022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D87BE04E-99C7-CDB1-AA2C-CD0B6CA52AC4}"/>
              </a:ext>
            </a:extLst>
          </p:cNvPr>
          <p:cNvSpPr/>
          <p:nvPr/>
        </p:nvSpPr>
        <p:spPr>
          <a:xfrm>
            <a:off x="4205246" y="4280604"/>
            <a:ext cx="812800" cy="733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87BE04E-99C7-CDB1-AA2C-CD0B6CA52AC4}"/>
              </a:ext>
            </a:extLst>
          </p:cNvPr>
          <p:cNvSpPr/>
          <p:nvPr/>
        </p:nvSpPr>
        <p:spPr>
          <a:xfrm>
            <a:off x="518799" y="5210227"/>
            <a:ext cx="812800" cy="733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87BE04E-99C7-CDB1-AA2C-CD0B6CA52AC4}"/>
              </a:ext>
            </a:extLst>
          </p:cNvPr>
          <p:cNvSpPr/>
          <p:nvPr/>
        </p:nvSpPr>
        <p:spPr>
          <a:xfrm>
            <a:off x="6305311" y="4280603"/>
            <a:ext cx="812800" cy="733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87BE04E-99C7-CDB1-AA2C-CD0B6CA52AC4}"/>
              </a:ext>
            </a:extLst>
          </p:cNvPr>
          <p:cNvSpPr/>
          <p:nvPr/>
        </p:nvSpPr>
        <p:spPr>
          <a:xfrm>
            <a:off x="6305311" y="5212996"/>
            <a:ext cx="812800" cy="733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6" name="Picture 65" descr="A group of dots on a black background&#10;&#10;Description automatically generated">
            <a:extLst>
              <a:ext uri="{FF2B5EF4-FFF2-40B4-BE49-F238E27FC236}">
                <a16:creationId xmlns:a16="http://schemas.microsoft.com/office/drawing/2014/main" id="{8C051B2E-3CC2-6FF6-25D6-858F789680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110" y="603061"/>
            <a:ext cx="456040" cy="456040"/>
          </a:xfrm>
          <a:prstGeom prst="rect">
            <a:avLst/>
          </a:prstGeom>
        </p:spPr>
      </p:pic>
      <p:pic>
        <p:nvPicPr>
          <p:cNvPr id="67" name="Picture 66" descr="A group of dots on a black background&#10;&#10;Description automatically generated">
            <a:extLst>
              <a:ext uri="{FF2B5EF4-FFF2-40B4-BE49-F238E27FC236}">
                <a16:creationId xmlns:a16="http://schemas.microsoft.com/office/drawing/2014/main" id="{8C051B2E-3CC2-6FF6-25D6-858F789680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671" y="3456225"/>
            <a:ext cx="456040" cy="45604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681" y="5139245"/>
            <a:ext cx="639941" cy="63994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960" y="4287714"/>
            <a:ext cx="689937" cy="68993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3610" y="5139245"/>
            <a:ext cx="659050" cy="659050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D87BE04E-99C7-CDB1-AA2C-CD0B6CA52AC4}"/>
              </a:ext>
            </a:extLst>
          </p:cNvPr>
          <p:cNvSpPr/>
          <p:nvPr/>
        </p:nvSpPr>
        <p:spPr>
          <a:xfrm>
            <a:off x="201730" y="1415762"/>
            <a:ext cx="812800" cy="14142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194" y="1528370"/>
            <a:ext cx="460556" cy="460556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271" y="2290701"/>
            <a:ext cx="460556" cy="460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4540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Snip Single Corner Rectangle 42"/>
          <p:cNvSpPr/>
          <p:nvPr/>
        </p:nvSpPr>
        <p:spPr>
          <a:xfrm>
            <a:off x="380110" y="182474"/>
            <a:ext cx="11273173" cy="861568"/>
          </a:xfrm>
          <a:prstGeom prst="snip1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/>
          <p:cNvSpPr txBox="1"/>
          <p:nvPr/>
        </p:nvSpPr>
        <p:spPr>
          <a:xfrm>
            <a:off x="601684" y="350376"/>
            <a:ext cx="10231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z-Latn-AZ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rğunun əhatə dairəsi</a:t>
            </a:r>
            <a:endParaRPr lang="en-US" sz="2800" i="1" dirty="0">
              <a:solidFill>
                <a:srgbClr val="333F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1574800" y="1423302"/>
            <a:ext cx="748792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əhlildə </a:t>
            </a:r>
            <a:r>
              <a:rPr lang="en-US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000 </a:t>
            </a:r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ətrlik datadan istifadə edilmişdir</a:t>
            </a:r>
            <a:endParaRPr lang="en-US" sz="2400" dirty="0"/>
          </a:p>
        </p:txBody>
      </p:sp>
      <p:sp>
        <p:nvSpPr>
          <p:cNvPr id="84" name="Rectangle 83"/>
          <p:cNvSpPr/>
          <p:nvPr/>
        </p:nvSpPr>
        <p:spPr>
          <a:xfrm>
            <a:off x="1564639" y="2299469"/>
            <a:ext cx="669544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sientlərdən 46%-i kişi, 54%-isə qadındır</a:t>
            </a:r>
            <a:endParaRPr lang="en-US" sz="24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510" y="1382662"/>
            <a:ext cx="693471" cy="69347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70" y="2260918"/>
            <a:ext cx="568879" cy="56887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509" y="2228138"/>
            <a:ext cx="640420" cy="64042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70" y="4418629"/>
            <a:ext cx="460556" cy="460556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70" y="5332165"/>
            <a:ext cx="460556" cy="460556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>
          <a:xfrm>
            <a:off x="918509" y="4357665"/>
            <a:ext cx="223109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özləmə vaxtı</a:t>
            </a:r>
            <a:endParaRPr lang="en-US" sz="2400" dirty="0"/>
          </a:p>
        </p:txBody>
      </p:sp>
      <p:sp>
        <p:nvSpPr>
          <p:cNvPr id="34" name="Rectangle 33"/>
          <p:cNvSpPr/>
          <p:nvPr/>
        </p:nvSpPr>
        <p:spPr>
          <a:xfrm>
            <a:off x="918509" y="5282641"/>
            <a:ext cx="223109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əmizlik</a:t>
            </a:r>
            <a:endParaRPr lang="en-US" sz="2400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4190" y="4479593"/>
            <a:ext cx="460556" cy="460556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4190" y="5393129"/>
            <a:ext cx="460556" cy="460556"/>
          </a:xfrm>
          <a:prstGeom prst="rect">
            <a:avLst/>
          </a:prstGeom>
        </p:spPr>
      </p:pic>
      <p:sp>
        <p:nvSpPr>
          <p:cNvPr id="37" name="Rectangle 36"/>
          <p:cNvSpPr/>
          <p:nvPr/>
        </p:nvSpPr>
        <p:spPr>
          <a:xfrm>
            <a:off x="4291629" y="4418629"/>
            <a:ext cx="27797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İşçilərin münasibəti</a:t>
            </a:r>
            <a:endParaRPr lang="en-US" sz="2400" dirty="0"/>
          </a:p>
        </p:txBody>
      </p:sp>
      <p:sp>
        <p:nvSpPr>
          <p:cNvPr id="38" name="Rectangle 37"/>
          <p:cNvSpPr/>
          <p:nvPr/>
        </p:nvSpPr>
        <p:spPr>
          <a:xfrm>
            <a:off x="4291629" y="5343605"/>
            <a:ext cx="27797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ayğının keyfiyyəti</a:t>
            </a:r>
            <a:endParaRPr lang="en-US" sz="2400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5634" y="4479593"/>
            <a:ext cx="460556" cy="460556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5634" y="5393129"/>
            <a:ext cx="460556" cy="460556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8053073" y="4418629"/>
            <a:ext cx="359798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övsiyyəyə uyğunluğu</a:t>
            </a:r>
            <a:endParaRPr lang="en-US" sz="2400" dirty="0"/>
          </a:p>
        </p:txBody>
      </p:sp>
      <p:sp>
        <p:nvSpPr>
          <p:cNvPr id="46" name="Rectangle 45"/>
          <p:cNvSpPr/>
          <p:nvPr/>
        </p:nvSpPr>
        <p:spPr>
          <a:xfrm>
            <a:off x="8053073" y="5343605"/>
            <a:ext cx="34683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bb bacılarının xidməti</a:t>
            </a:r>
            <a:endParaRPr lang="en-US" sz="2400" dirty="0"/>
          </a:p>
        </p:txBody>
      </p:sp>
      <p:sp>
        <p:nvSpPr>
          <p:cNvPr id="52" name="Snip Single Corner Rectangle 51"/>
          <p:cNvSpPr/>
          <p:nvPr/>
        </p:nvSpPr>
        <p:spPr>
          <a:xfrm>
            <a:off x="380110" y="3527345"/>
            <a:ext cx="11270949" cy="548640"/>
          </a:xfrm>
          <a:prstGeom prst="snip1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/>
          <p:cNvSpPr/>
          <p:nvPr/>
        </p:nvSpPr>
        <p:spPr>
          <a:xfrm>
            <a:off x="471469" y="3553987"/>
            <a:ext cx="95177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sientlərin məmnunluq dərəcəsi aşağıdakı kriteriyalara əsaslanmışdır</a:t>
            </a:r>
            <a:r>
              <a:rPr lang="en-US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6476204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1" name="Straight Connector 60"/>
          <p:cNvCxnSpPr/>
          <p:nvPr/>
        </p:nvCxnSpPr>
        <p:spPr>
          <a:xfrm flipH="1" flipV="1">
            <a:off x="3461161" y="3346718"/>
            <a:ext cx="6702766" cy="16242"/>
          </a:xfrm>
          <a:prstGeom prst="line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>
          <a:xfrm>
            <a:off x="519939" y="3121967"/>
            <a:ext cx="283763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</a:t>
            </a:r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əlumatın mənbəyi</a:t>
            </a:r>
            <a:endParaRPr lang="en-US" sz="2400" dirty="0"/>
          </a:p>
        </p:txBody>
      </p:sp>
      <p:sp>
        <p:nvSpPr>
          <p:cNvPr id="7" name="Oval 6"/>
          <p:cNvSpPr/>
          <p:nvPr/>
        </p:nvSpPr>
        <p:spPr>
          <a:xfrm>
            <a:off x="3368293" y="3270936"/>
            <a:ext cx="216294" cy="170446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5267482" y="3277737"/>
            <a:ext cx="216294" cy="170446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3332480" y="2432266"/>
            <a:ext cx="425790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raping, Parsing </a:t>
            </a:r>
            <a:r>
              <a:rPr lang="en-US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amp; Transform</a:t>
            </a:r>
          </a:p>
          <a:p>
            <a:r>
              <a:rPr lang="en-US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  </a:t>
            </a:r>
            <a:r>
              <a:rPr lang="az-Latn-AZ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   </a:t>
            </a:r>
            <a:r>
              <a:rPr lang="en-US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Pandas)</a:t>
            </a:r>
            <a:endParaRPr lang="en-US" sz="2400" dirty="0"/>
          </a:p>
        </p:txBody>
      </p:sp>
      <p:pic>
        <p:nvPicPr>
          <p:cNvPr id="9225" name="Picture 9" descr="File:Python logo and wordmark.svg - Wikipedi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0299" y="1767850"/>
            <a:ext cx="1960711" cy="579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Oval 35"/>
          <p:cNvSpPr/>
          <p:nvPr/>
        </p:nvSpPr>
        <p:spPr>
          <a:xfrm>
            <a:off x="7506392" y="3263263"/>
            <a:ext cx="216294" cy="170446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/>
        </p:nvSpPr>
        <p:spPr>
          <a:xfrm>
            <a:off x="8622115" y="2663231"/>
            <a:ext cx="241284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 Visualization</a:t>
            </a:r>
            <a:endParaRPr lang="en-US" sz="2400" dirty="0"/>
          </a:p>
        </p:txBody>
      </p:sp>
      <p:pic>
        <p:nvPicPr>
          <p:cNvPr id="9227" name="Picture 11" descr="SQL and PL/SQL articles | Jeff Kemp on Oracl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1191" y="4514578"/>
            <a:ext cx="2817156" cy="967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Oval 38"/>
          <p:cNvSpPr/>
          <p:nvPr/>
        </p:nvSpPr>
        <p:spPr>
          <a:xfrm>
            <a:off x="9987103" y="3277737"/>
            <a:ext cx="216294" cy="170446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6411191" y="3739391"/>
            <a:ext cx="250645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 Transform</a:t>
            </a:r>
          </a:p>
          <a:p>
            <a:r>
              <a:rPr lang="en-US" sz="24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Join &amp; Filter etc.)</a:t>
            </a:r>
            <a:endParaRPr lang="en-US" sz="2400" dirty="0"/>
          </a:p>
        </p:txBody>
      </p:sp>
      <p:pic>
        <p:nvPicPr>
          <p:cNvPr id="9236" name="Picture 20" descr="File:Qlik Logo No Trademark 2 Color Positive RGB.png - Wikimedia Commons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3031" y="1938312"/>
            <a:ext cx="1304437" cy="724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Snip Single Corner Rectangle 45"/>
          <p:cNvSpPr/>
          <p:nvPr/>
        </p:nvSpPr>
        <p:spPr>
          <a:xfrm>
            <a:off x="380110" y="182474"/>
            <a:ext cx="11273173" cy="861568"/>
          </a:xfrm>
          <a:prstGeom prst="snip1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46"/>
          <p:cNvSpPr txBox="1"/>
          <p:nvPr/>
        </p:nvSpPr>
        <p:spPr>
          <a:xfrm>
            <a:off x="601684" y="350376"/>
            <a:ext cx="10231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“Data pipeline”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7042" y="3583632"/>
            <a:ext cx="2497943" cy="70388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2711" y="4514578"/>
            <a:ext cx="2203571" cy="446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6549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004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nip Single Corner Rectangle 7"/>
          <p:cNvSpPr/>
          <p:nvPr/>
        </p:nvSpPr>
        <p:spPr>
          <a:xfrm>
            <a:off x="380110" y="182474"/>
            <a:ext cx="11273173" cy="861568"/>
          </a:xfrm>
          <a:prstGeom prst="snip1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601684" y="350376"/>
            <a:ext cx="10231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</a:t>
            </a:r>
            <a:r>
              <a:rPr lang="az-Latn-AZ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əlumatın </a:t>
            </a:r>
            <a:r>
              <a:rPr lang="en-US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“scrape” </a:t>
            </a:r>
            <a:r>
              <a:rPr lang="en-US" sz="2800" i="1" dirty="0" err="1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dilm</a:t>
            </a:r>
            <a:r>
              <a:rPr lang="az-Latn-AZ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əsi</a:t>
            </a:r>
            <a:endParaRPr lang="en-US" sz="2800" i="1" dirty="0">
              <a:solidFill>
                <a:srgbClr val="333F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248" y="1355597"/>
            <a:ext cx="10751103" cy="4959605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317522" y="2245360"/>
            <a:ext cx="633197" cy="38608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2950590" y="4927600"/>
            <a:ext cx="1570610" cy="122936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3370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nip Single Corner Rectangle 7"/>
          <p:cNvSpPr/>
          <p:nvPr/>
        </p:nvSpPr>
        <p:spPr>
          <a:xfrm>
            <a:off x="380110" y="182474"/>
            <a:ext cx="11273173" cy="861568"/>
          </a:xfrm>
          <a:prstGeom prst="snip1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601684" y="350376"/>
            <a:ext cx="10231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</a:t>
            </a:r>
            <a:r>
              <a:rPr lang="az-Latn-AZ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əlumatın </a:t>
            </a:r>
            <a:r>
              <a:rPr lang="en-US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“scrape” </a:t>
            </a:r>
            <a:r>
              <a:rPr lang="en-US" sz="2800" i="1" dirty="0" err="1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dilm</a:t>
            </a:r>
            <a:r>
              <a:rPr lang="az-Latn-AZ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əsi</a:t>
            </a:r>
            <a:endParaRPr lang="en-US" sz="2800" i="1" dirty="0">
              <a:solidFill>
                <a:srgbClr val="333F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2094" y="1379090"/>
            <a:ext cx="10789204" cy="505486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847470" y="3713480"/>
            <a:ext cx="2261490" cy="54356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3458590" y="3693160"/>
            <a:ext cx="2261490" cy="54356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6090030" y="3703320"/>
            <a:ext cx="2261490" cy="54356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8944990" y="3662680"/>
            <a:ext cx="2261490" cy="54356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9005950" y="5146040"/>
            <a:ext cx="2261490" cy="134379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252590" y="4963160"/>
            <a:ext cx="2261490" cy="88900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3509390" y="4973320"/>
            <a:ext cx="2261490" cy="88900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847470" y="5003800"/>
            <a:ext cx="2261490" cy="88900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4049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26F6201B-D6C9-E76F-47A1-C4EDCF9AB3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6" t="14194" r="6875" b="6811"/>
          <a:stretch/>
        </p:blipFill>
        <p:spPr>
          <a:xfrm>
            <a:off x="540774" y="973394"/>
            <a:ext cx="10813026" cy="5417574"/>
          </a:xfrm>
          <a:prstGeom prst="rect">
            <a:avLst/>
          </a:prstGeom>
        </p:spPr>
      </p:pic>
      <p:sp>
        <p:nvSpPr>
          <p:cNvPr id="6" name="Snip Single Corner Rectangle 7">
            <a:extLst>
              <a:ext uri="{FF2B5EF4-FFF2-40B4-BE49-F238E27FC236}">
                <a16:creationId xmlns:a16="http://schemas.microsoft.com/office/drawing/2014/main" id="{DE0ACA86-3666-496C-9D95-6264F40B07AF}"/>
              </a:ext>
            </a:extLst>
          </p:cNvPr>
          <p:cNvSpPr/>
          <p:nvPr/>
        </p:nvSpPr>
        <p:spPr>
          <a:xfrm>
            <a:off x="380110" y="182474"/>
            <a:ext cx="11273173" cy="861568"/>
          </a:xfrm>
          <a:prstGeom prst="snip1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9028C7-F833-7E6A-0503-43ABF05A3756}"/>
              </a:ext>
            </a:extLst>
          </p:cNvPr>
          <p:cNvSpPr txBox="1"/>
          <p:nvPr/>
        </p:nvSpPr>
        <p:spPr>
          <a:xfrm>
            <a:off x="601684" y="350376"/>
            <a:ext cx="10231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</a:t>
            </a:r>
            <a:r>
              <a:rPr lang="az-Latn-AZ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əlumatın </a:t>
            </a:r>
            <a:r>
              <a:rPr lang="en-US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“scrape” </a:t>
            </a:r>
            <a:r>
              <a:rPr lang="en-US" sz="2800" i="1" dirty="0" err="1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dilm</a:t>
            </a:r>
            <a:r>
              <a:rPr lang="az-Latn-AZ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əsi</a:t>
            </a:r>
            <a:endParaRPr lang="en-US" sz="2800" i="1" dirty="0">
              <a:solidFill>
                <a:srgbClr val="333F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25F6D3-5524-DE12-C49E-13860AB592E6}"/>
              </a:ext>
            </a:extLst>
          </p:cNvPr>
          <p:cNvSpPr/>
          <p:nvPr/>
        </p:nvSpPr>
        <p:spPr>
          <a:xfrm>
            <a:off x="1032388" y="3323303"/>
            <a:ext cx="1582994" cy="316746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5C8F2CD-EDCB-B0B2-234B-A4DB8B6BBC40}"/>
              </a:ext>
            </a:extLst>
          </p:cNvPr>
          <p:cNvSpPr/>
          <p:nvPr/>
        </p:nvSpPr>
        <p:spPr>
          <a:xfrm>
            <a:off x="1042222" y="2487562"/>
            <a:ext cx="1582994" cy="66529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6734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nip Single Corner Rectangle 7"/>
          <p:cNvSpPr/>
          <p:nvPr/>
        </p:nvSpPr>
        <p:spPr>
          <a:xfrm>
            <a:off x="380110" y="182474"/>
            <a:ext cx="11273173" cy="861568"/>
          </a:xfrm>
          <a:prstGeom prst="snip1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601684" y="350376"/>
            <a:ext cx="10231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</a:t>
            </a:r>
            <a:r>
              <a:rPr lang="az-Latn-AZ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əlumatın </a:t>
            </a:r>
            <a:r>
              <a:rPr lang="en-US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“scrape” </a:t>
            </a:r>
            <a:r>
              <a:rPr lang="en-US" sz="2800" i="1" dirty="0" err="1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dilm</a:t>
            </a:r>
            <a:r>
              <a:rPr lang="az-Latn-AZ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əsi</a:t>
            </a:r>
            <a:endParaRPr lang="en-US" sz="2800" i="1" dirty="0">
              <a:solidFill>
                <a:srgbClr val="333F5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1041" y="1211944"/>
            <a:ext cx="10527272" cy="5391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442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nip Single Corner Rectangle 18"/>
          <p:cNvSpPr/>
          <p:nvPr/>
        </p:nvSpPr>
        <p:spPr>
          <a:xfrm>
            <a:off x="380110" y="182474"/>
            <a:ext cx="11273173" cy="861568"/>
          </a:xfrm>
          <a:prstGeom prst="snip1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601684" y="350376"/>
            <a:ext cx="10231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z-Latn-AZ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transform </a:t>
            </a:r>
            <a:r>
              <a:rPr lang="en-US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</a:t>
            </a:r>
            <a:r>
              <a:rPr lang="az-Latn-AZ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h </a:t>
            </a:r>
            <a:r>
              <a:rPr lang="en-US" sz="2800" i="1" dirty="0">
                <a:solidFill>
                  <a:srgbClr val="333F5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QL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44992" y="1589946"/>
            <a:ext cx="4989571" cy="44636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684" y="1589946"/>
            <a:ext cx="5855968" cy="4221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1367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76</TotalTime>
  <Words>136</Words>
  <Application>Microsoft Office PowerPoint</Application>
  <PresentationFormat>Widescreen</PresentationFormat>
  <Paragraphs>32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Segoe UI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rmin</dc:creator>
  <cp:lastModifiedBy>Nigarxanim Eliyeva</cp:lastModifiedBy>
  <cp:revision>49</cp:revision>
  <dcterms:created xsi:type="dcterms:W3CDTF">2024-09-03T17:44:49Z</dcterms:created>
  <dcterms:modified xsi:type="dcterms:W3CDTF">2024-10-22T19:16:22Z</dcterms:modified>
</cp:coreProperties>
</file>